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heme/themeOverride1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648" r:id="rId1"/>
  </p:sldMasterIdLst>
  <p:notesMasterIdLst>
    <p:notesMasterId r:id="rId7"/>
  </p:notesMasterIdLst>
  <p:handoutMasterIdLst>
    <p:handoutMasterId r:id="rId8"/>
  </p:handoutMasterIdLst>
  <p:sldIdLst>
    <p:sldId id="339" r:id="rId2"/>
    <p:sldId id="346" r:id="rId3"/>
    <p:sldId id="347" r:id="rId4"/>
    <p:sldId id="348" r:id="rId5"/>
    <p:sldId id="327" r:id="rId6"/>
  </p:sldIdLst>
  <p:sldSz cx="9144000" cy="6858000" type="screen4x3"/>
  <p:notesSz cx="6858000" cy="9144000"/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CC"/>
    <a:srgbClr val="0000FF"/>
    <a:srgbClr val="FF99FF"/>
    <a:srgbClr val="FFCC00"/>
    <a:srgbClr val="99FFCC"/>
    <a:srgbClr val="000099"/>
    <a:srgbClr val="99FF99"/>
    <a:srgbClr val="008000"/>
    <a:srgbClr val="CC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927" autoAdjust="0"/>
    <p:restoredTop sz="86554" autoAdjust="0"/>
  </p:normalViewPr>
  <p:slideViewPr>
    <p:cSldViewPr>
      <p:cViewPr varScale="1">
        <p:scale>
          <a:sx n="98" d="100"/>
          <a:sy n="98" d="100"/>
        </p:scale>
        <p:origin x="-756" y="-9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B408C89-1D21-433D-A19D-DB30A9817ACD}" type="datetimeFigureOut">
              <a:rPr lang="en-US" smtClean="0"/>
              <a:t>8/11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B2533AF-287D-4548-8AA9-AEC07563322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632583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8D80426-893B-4EB1-B969-E3A75B4EC98B}" type="datetimeFigureOut">
              <a:rPr lang="en-US" smtClean="0"/>
              <a:t>8/11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CDEAFDE-9B85-4A78-9CEF-FCB16F2F577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86956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DEAFDE-9B85-4A78-9CEF-FCB16F2F577E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017281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DEAFDE-9B85-4A78-9CEF-FCB16F2F577E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93597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0B72CF-A895-47F1-9F5B-09A4DC827CF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81180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F92E789-BC7D-41F6-A011-470AE536D27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109164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15100" y="609600"/>
            <a:ext cx="1943100" cy="54864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5800" y="609600"/>
            <a:ext cx="5676900" cy="54864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6C390BB-603C-4C72-AAD0-FEE3C65F3AD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204659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chart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609600"/>
            <a:ext cx="777240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685800" y="1981200"/>
            <a:ext cx="7772400" cy="4114800"/>
          </a:xfrm>
        </p:spPr>
        <p:txBody>
          <a:bodyPr/>
          <a:lstStyle/>
          <a:p>
            <a:pPr lvl="0"/>
            <a:endParaRPr lang="en-US" noProof="0" smtClean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75107D1-CA07-450D-A21B-FE2834F1F75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514809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609600"/>
            <a:ext cx="777240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12788" y="1946275"/>
            <a:ext cx="3910012" cy="43021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75200" y="1946275"/>
            <a:ext cx="3911600" cy="43021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153400" y="6477000"/>
            <a:ext cx="990600" cy="381000"/>
          </a:xfrm>
          <a:ln/>
        </p:spPr>
        <p:txBody>
          <a:bodyPr/>
          <a:lstStyle>
            <a:lvl1pPr>
              <a:defRPr sz="105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dirty="0" smtClean="0"/>
              <a:t>Page </a:t>
            </a:r>
            <a:fld id="{25A53417-A9C5-4A5B-83BB-FC2768F42865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909332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Interior N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24"/>
          <p:cNvSpPr>
            <a:spLocks noChangeShapeType="1"/>
          </p:cNvSpPr>
          <p:nvPr userDrawn="1">
            <p:custDataLst>
              <p:tags r:id="rId1"/>
            </p:custDataLst>
          </p:nvPr>
        </p:nvSpPr>
        <p:spPr bwMode="auto">
          <a:xfrm>
            <a:off x="533400" y="1320800"/>
            <a:ext cx="8067675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" name="Title Placeholder 9"/>
          <p:cNvSpPr>
            <a:spLocks noGrp="1"/>
          </p:cNvSpPr>
          <p:nvPr>
            <p:ph type="title"/>
          </p:nvPr>
        </p:nvSpPr>
        <p:spPr>
          <a:xfrm>
            <a:off x="457200" y="533400"/>
            <a:ext cx="8229600" cy="707886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457200" y="1524001"/>
            <a:ext cx="8229600" cy="4602163"/>
          </a:xfrm>
          <a:prstGeom prst="rect">
            <a:avLst/>
          </a:prstGeom>
        </p:spPr>
        <p:txBody>
          <a:bodyPr/>
          <a:lstStyle>
            <a:lvl1pPr marL="228600" indent="-228600">
              <a:defRPr sz="2000"/>
            </a:lvl1pPr>
            <a:lvl2pPr marL="630238" indent="-173038">
              <a:defRPr sz="1600"/>
            </a:lvl2pPr>
            <a:lvl3pPr marL="1033463" indent="-119063">
              <a:defRPr sz="1600"/>
            </a:lvl3pPr>
            <a:lvl4pPr marL="1490663" indent="-119063">
              <a:defRPr sz="1400"/>
            </a:lvl4pPr>
            <a:lvl5pPr marL="1941513" indent="-112713"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3124200" y="6413500"/>
            <a:ext cx="2895600" cy="457200"/>
          </a:xfrm>
        </p:spPr>
        <p:txBody>
          <a:bodyPr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54888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3367E57-490D-409F-A22D-AE22CDF725E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50550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28F7820-CBB5-4637-B6FB-FBC23DD2649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576505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198120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98120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B158C43-AD45-4265-9E39-F7A8E118FB4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525136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DFE83A4-CEA8-4B27-9716-E6017EBD1EF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58709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288D3E1-CA6D-4EA3-9933-AB56969E473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76135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55F65D2-9419-4CCD-AC13-222B452B451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95801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152BC02-45FB-4E75-93DC-7B28D15C66F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532322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2D4179A-7F53-4784-9823-8223C506A75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68314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00C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609600"/>
            <a:ext cx="77724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981200"/>
            <a:ext cx="7772400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858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8400"/>
            <a:ext cx="2895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77199" y="6477000"/>
            <a:ext cx="10763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05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sz="1000" dirty="0" smtClean="0"/>
              <a:t>Page</a:t>
            </a:r>
            <a:r>
              <a:rPr lang="en-US" dirty="0" smtClean="0"/>
              <a:t> </a:t>
            </a:r>
            <a:fld id="{E5878103-2E31-4A56-952F-BF9A86B0EEF6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5pPr>
      <a:lvl6pPr marL="457200"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6pPr>
      <a:lvl7pPr marL="914400"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7pPr>
      <a:lvl8pPr marL="1371600"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8pPr>
      <a:lvl9pPr marL="1828800"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.xml"/><Relationship Id="rId1" Type="http://schemas.openxmlformats.org/officeDocument/2006/relationships/themeOverride" Target="../theme/themeOverr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533400" y="1219200"/>
            <a:ext cx="7772400" cy="3276600"/>
          </a:xfrm>
        </p:spPr>
        <p:txBody>
          <a:bodyPr/>
          <a:lstStyle/>
          <a:p>
            <a:r>
              <a:rPr lang="en-US" altLang="en-US" b="1" dirty="0" smtClean="0">
                <a:solidFill>
                  <a:srgbClr val="FFC000"/>
                </a:solidFill>
                <a:latin typeface="Arial" charset="0"/>
              </a:rPr>
              <a:t>Valuation</a:t>
            </a:r>
            <a:r>
              <a:rPr lang="en-US" altLang="en-US" b="1" dirty="0" smtClean="0">
                <a:solidFill>
                  <a:schemeClr val="bg1"/>
                </a:solidFill>
                <a:latin typeface="Arial" charset="0"/>
              </a:rPr>
              <a:t/>
            </a:r>
            <a:br>
              <a:rPr lang="en-US" altLang="en-US" b="1" dirty="0" smtClean="0">
                <a:solidFill>
                  <a:schemeClr val="bg1"/>
                </a:solidFill>
                <a:latin typeface="Arial" charset="0"/>
              </a:rPr>
            </a:br>
            <a:r>
              <a:rPr lang="en-US" altLang="en-US" b="1" dirty="0">
                <a:solidFill>
                  <a:schemeClr val="bg1"/>
                </a:solidFill>
                <a:latin typeface="Arial" charset="0"/>
              </a:rPr>
              <a:t/>
            </a:r>
            <a:br>
              <a:rPr lang="en-US" altLang="en-US" b="1" dirty="0">
                <a:solidFill>
                  <a:schemeClr val="bg1"/>
                </a:solidFill>
                <a:latin typeface="Arial" charset="0"/>
              </a:rPr>
            </a:br>
            <a:r>
              <a:rPr lang="en-US" altLang="en-US" sz="4000" smtClean="0">
                <a:solidFill>
                  <a:srgbClr val="FFCC00"/>
                </a:solidFill>
                <a:latin typeface="Arial" charset="0"/>
              </a:rPr>
              <a:t>Pre-Money Valuation versus </a:t>
            </a:r>
            <a:r>
              <a:rPr lang="en-US" altLang="en-US" sz="4000" dirty="0" smtClean="0">
                <a:solidFill>
                  <a:srgbClr val="FFCC00"/>
                </a:solidFill>
                <a:latin typeface="Arial" charset="0"/>
              </a:rPr>
              <a:t/>
            </a:r>
            <a:br>
              <a:rPr lang="en-US" altLang="en-US" sz="4000" dirty="0" smtClean="0">
                <a:solidFill>
                  <a:srgbClr val="FFCC00"/>
                </a:solidFill>
                <a:latin typeface="Arial" charset="0"/>
              </a:rPr>
            </a:br>
            <a:r>
              <a:rPr lang="en-US" altLang="en-US" sz="4000" dirty="0" smtClean="0">
                <a:solidFill>
                  <a:srgbClr val="FFCC00"/>
                </a:solidFill>
                <a:latin typeface="Arial" charset="0"/>
              </a:rPr>
              <a:t>Post-Money Valuation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533400" y="6248400"/>
            <a:ext cx="8077200" cy="457200"/>
          </a:xfrm>
        </p:spPr>
        <p:txBody>
          <a:bodyPr/>
          <a:lstStyle/>
          <a:p>
            <a:pPr>
              <a:defRPr/>
            </a:pPr>
            <a:r>
              <a:rPr lang="en-US" dirty="0" smtClean="0">
                <a:solidFill>
                  <a:schemeClr val="bg1"/>
                </a:solidFill>
              </a:rPr>
              <a:t>Published by the Entrepreneurship Foundation, a 501(c)3 non profit.   Copyright © Academy Group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240774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28600" y="609600"/>
            <a:ext cx="8839200" cy="1143000"/>
          </a:xfrm>
        </p:spPr>
        <p:txBody>
          <a:bodyPr/>
          <a:lstStyle/>
          <a:p>
            <a:r>
              <a:rPr lang="en-US" altLang="en-US" sz="3600" dirty="0">
                <a:solidFill>
                  <a:srgbClr val="FFC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-Money versus Post-Money Valuation</a:t>
            </a:r>
            <a:r>
              <a:rPr lang="en-US" alt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alt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381000" y="1600200"/>
            <a:ext cx="8458200" cy="4114800"/>
          </a:xfrm>
        </p:spPr>
        <p:txBody>
          <a:bodyPr/>
          <a:lstStyle/>
          <a:p>
            <a:pPr marL="0" indent="0">
              <a:buNone/>
            </a:pPr>
            <a:r>
              <a:rPr lang="en-US" altLang="en-US" sz="2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en speaking with entrepreneurs, it is important to distinguish which “valuation” you mean.</a:t>
            </a:r>
          </a:p>
          <a:p>
            <a:pPr marL="0" indent="0">
              <a:buNone/>
            </a:pPr>
            <a:endParaRPr lang="en-US" altLang="en-US" sz="2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US" altLang="en-US" sz="2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location of stock is based on post-money valuation (the inherent value of the company before the round of funding + the new investment</a:t>
            </a:r>
            <a:r>
              <a:rPr lang="en-US" altLang="en-US" sz="2800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.  If you are worth $1,000,000 and an investor gives you $1,000,000, you are now worth $2,000,000.  That is post-money valuation</a:t>
            </a:r>
            <a:r>
              <a:rPr lang="en-US" altLang="en-US" sz="2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0" indent="0">
              <a:buNone/>
            </a:pPr>
            <a:endParaRPr lang="en-US" sz="28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Page </a:t>
            </a:r>
            <a:fld id="{355F65D2-9419-4CCD-AC13-222B452B4518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793170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sz="32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ample of Pre-Money </a:t>
            </a:r>
            <a:r>
              <a:rPr lang="en-US" altLang="en-US" sz="3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rsus </a:t>
            </a:r>
            <a:r>
              <a:rPr lang="en-US" altLang="en-US" sz="32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altLang="en-US" sz="32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altLang="en-US" sz="32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st-Money </a:t>
            </a:r>
            <a:r>
              <a:rPr lang="en-US" altLang="en-US" sz="3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luation</a:t>
            </a:r>
            <a:endParaRPr lang="en-US" sz="3200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609600" y="2209800"/>
            <a:ext cx="7772400" cy="4114800"/>
          </a:xfrm>
        </p:spPr>
        <p:txBody>
          <a:bodyPr/>
          <a:lstStyle/>
          <a:p>
            <a:pPr marL="0" indent="0">
              <a:buNone/>
            </a:pPr>
            <a:r>
              <a:rPr lang="en-US" altLang="en-US" sz="2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company valued at $3,000,000 </a:t>
            </a:r>
            <a:r>
              <a:rPr lang="en-US" altLang="en-US" sz="2800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-money</a:t>
            </a:r>
            <a:r>
              <a:rPr lang="en-US" altLang="en-US" sz="2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hat receives a </a:t>
            </a:r>
            <a:r>
              <a:rPr lang="en-US" altLang="en-US" sz="2800" dirty="0">
                <a:solidFill>
                  <a:srgbClr val="FFC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$1,000,000 </a:t>
            </a:r>
            <a:r>
              <a:rPr lang="en-US" altLang="en-US" sz="2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und of funding is worth </a:t>
            </a:r>
            <a:r>
              <a:rPr lang="en-US" altLang="en-US" sz="2800" dirty="0">
                <a:solidFill>
                  <a:srgbClr val="FFC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$4,000,000 </a:t>
            </a:r>
            <a:r>
              <a:rPr lang="en-US" altLang="en-US" sz="2800" i="1" dirty="0">
                <a:solidFill>
                  <a:srgbClr val="FFC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st money </a:t>
            </a:r>
            <a:r>
              <a:rPr lang="en-US" altLang="en-US" sz="2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..</a:t>
            </a:r>
          </a:p>
          <a:p>
            <a:pPr marL="0" indent="0">
              <a:buNone/>
            </a:pPr>
            <a:endParaRPr lang="en-US" altLang="en-US" sz="2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US" altLang="en-US" sz="2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itling the investor to 25% of the company.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5F65D2-9419-4CCD-AC13-222B452B4518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152713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85800" y="304800"/>
            <a:ext cx="7772400" cy="2057400"/>
          </a:xfrm>
        </p:spPr>
        <p:txBody>
          <a:bodyPr/>
          <a:lstStyle/>
          <a:p>
            <a:r>
              <a:rPr lang="en-US" altLang="en-US" sz="3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y it is important for investors and entrepreneurs to be on the same page when discussing valuation.</a:t>
            </a:r>
            <a:endParaRPr lang="en-US" sz="320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half" idx="1"/>
          </p:nvPr>
        </p:nvSpPr>
        <p:spPr>
          <a:xfrm>
            <a:off x="685800" y="2667000"/>
            <a:ext cx="8050212" cy="2092325"/>
          </a:xfrm>
        </p:spPr>
        <p:txBody>
          <a:bodyPr/>
          <a:lstStyle/>
          <a:p>
            <a:pPr marL="0" indent="0">
              <a:buNone/>
            </a:pPr>
            <a:r>
              <a:rPr lang="en-US" altLang="en-US" sz="2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Pre-Money Versus Post-Money Example from Investopedia.com.</a:t>
            </a:r>
            <a:br>
              <a:rPr lang="en-US" altLang="en-US" sz="2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altLang="en-US" sz="1200" dirty="0">
              <a:solidFill>
                <a:srgbClr val="FFCC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US" altLang="en-US" sz="2800" dirty="0">
                <a:solidFill>
                  <a:srgbClr val="FFC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wo $1,000,000 valuations.  </a:t>
            </a:r>
            <a:br>
              <a:rPr lang="en-US" altLang="en-US" sz="2800" dirty="0">
                <a:solidFill>
                  <a:srgbClr val="FFCC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altLang="en-US" sz="2800" dirty="0">
                <a:solidFill>
                  <a:srgbClr val="FFC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ich is better for the investor</a:t>
            </a:r>
            <a:endParaRPr lang="en-US" sz="2800" dirty="0"/>
          </a:p>
        </p:txBody>
      </p:sp>
      <p:pic>
        <p:nvPicPr>
          <p:cNvPr id="7" name="Content Placeholder 6" descr="This chart shows that for a $250,000 investment and a $1 million valuation, it is better for the investor if the valuation amount is Post-Investment versus Pre-Investment.  As Post-money, the investor would receive 25% of the shares; versus only 20% if the Valuation were defined as Pre-money." title="CHART: Pre-Money Versus Post-Money Valuation - Example"/>
          <p:cNvPicPr>
            <a:picLocks noGrp="1" noChangeAspect="1"/>
          </p:cNvPicPr>
          <p:nvPr>
            <p:ph sz="half" idx="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" y="5029200"/>
            <a:ext cx="8153402" cy="1371600"/>
          </a:xfrm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55F65D2-9419-4CCD-AC13-222B452B4518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792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0000C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lank Slide</a:t>
            </a:r>
            <a:endParaRPr lang="en-US" dirty="0">
              <a:solidFill>
                <a:srgbClr val="0000C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5F65D2-9419-4CCD-AC13-222B452B4518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10527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ATcJdMFHEac6TYAVx13wQ"/>
</p:tagLst>
</file>

<file path=ppt/theme/theme1.xml><?xml version="1.0" encoding="utf-8"?>
<a:theme xmlns:a="http://schemas.openxmlformats.org/drawingml/2006/main" name="Default Design">
  <a:themeElements>
    <a:clrScheme name="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Default Design">
      <a:majorFont>
        <a:latin typeface="Times New Roman"/>
        <a:ea typeface=""/>
        <a:cs typeface=""/>
      </a:majorFont>
      <a:minorFont>
        <a:latin typeface="Times New Roma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Default Design 1">
    <a:dk1>
      <a:srgbClr val="000000"/>
    </a:dk1>
    <a:lt1>
      <a:srgbClr val="FFFFFF"/>
    </a:lt1>
    <a:dk2>
      <a:srgbClr val="000000"/>
    </a:dk2>
    <a:lt2>
      <a:srgbClr val="808080"/>
    </a:lt2>
    <a:accent1>
      <a:srgbClr val="00CC99"/>
    </a:accent1>
    <a:accent2>
      <a:srgbClr val="3333CC"/>
    </a:accent2>
    <a:accent3>
      <a:srgbClr val="FFFFFF"/>
    </a:accent3>
    <a:accent4>
      <a:srgbClr val="000000"/>
    </a:accent4>
    <a:accent5>
      <a:srgbClr val="AAE2CA"/>
    </a:accent5>
    <a:accent6>
      <a:srgbClr val="2D2DB9"/>
    </a:accent6>
    <a:hlink>
      <a:srgbClr val="CCCCFF"/>
    </a:hlink>
    <a:folHlink>
      <a:srgbClr val="B2B2B2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60</Words>
  <Application>Microsoft Office PowerPoint</Application>
  <PresentationFormat>On-screen Show (4:3)</PresentationFormat>
  <Paragraphs>21</Paragraphs>
  <Slides>5</Slides>
  <Notes>2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6" baseType="lpstr">
      <vt:lpstr>Default Design</vt:lpstr>
      <vt:lpstr>Valuation  Pre-Money Valuation versus  Post-Money Valuation</vt:lpstr>
      <vt:lpstr>Pre-Money versus Post-Money Valuation </vt:lpstr>
      <vt:lpstr>Example of Pre-Money versus  Post-Money Valuation</vt:lpstr>
      <vt:lpstr>Why it is important for investors and entrepreneurs to be on the same page when discussing valuation.</vt:lpstr>
      <vt:lpstr>Blank Slide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6-11-13T03:22:13Z</dcterms:created>
  <dcterms:modified xsi:type="dcterms:W3CDTF">2019-08-11T20:20:13Z</dcterms:modified>
</cp:coreProperties>
</file>